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11" r:id="rId4"/>
    <p:sldId id="340" r:id="rId5"/>
    <p:sldId id="366" r:id="rId6"/>
    <p:sldId id="376" r:id="rId7"/>
    <p:sldId id="377" r:id="rId8"/>
    <p:sldId id="378" r:id="rId9"/>
    <p:sldId id="329" r:id="rId10"/>
    <p:sldId id="349" r:id="rId11"/>
  </p:sldIdLst>
  <p:sldSz cx="9906000" cy="6858000" type="A4"/>
  <p:notesSz cx="6896100" cy="100330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/2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3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4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7.vml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3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77170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terakcja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z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ny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elementa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(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cd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) 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8" name="Picture 6" descr="Warsztat 10+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01135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monetę do zbierani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890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 nowego duszka wybierając przycis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Pain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ne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Nazwij go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i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importuj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grafikę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nety przyciski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load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from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fil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i wybierz pli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in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ygotuj dla duszka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oi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skrypt podobny do zadania 2.2. W bloku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reagujemy na dotknięcie monety przez kota).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8908082" y="155674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33400" y="1916790"/>
            <a:ext cx="16859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0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65460" y="2708900"/>
            <a:ext cx="9525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Arrow Connector 15"/>
          <p:cNvCxnSpPr/>
          <p:nvPr/>
        </p:nvCxnSpPr>
        <p:spPr>
          <a:xfrm flipH="1">
            <a:off x="8822870" y="249287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06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monetę do zbierani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36130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ewnątrz blok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umieść blok        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ook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(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hcemy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moneta zniknęła po dotknięciu przez kota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zagrać (po naciśnięciu przycisku zielonej flagi). Ile gier można zagrać?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o należy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nić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moneta pojawiała się po każdym rozpoczęciu gry?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064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41040" y="1772770"/>
            <a:ext cx="55245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06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12800" y="2639960"/>
            <a:ext cx="2238375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16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Kotek wydaje okrzyk po dotknięciu monet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36130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odyfikuj skrypt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aczynający się zieloną flagą, dodając nowy blok           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warunku należy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dzić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y kotek dotknął monety (blok        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           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po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kotek dotknął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nety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winien powiedzieć 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„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Hura, wygrałem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“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blok                 ) przez 2 sekundy.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de-DE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daj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d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źwięk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gdy kotek dotyka monety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166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044565" y="3753240"/>
            <a:ext cx="14763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166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63936" y="2132820"/>
            <a:ext cx="840974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1669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072600" y="2996940"/>
            <a:ext cx="103822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77170" y="4509150"/>
            <a:ext cx="217170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3. Wyświetl czas dojścia do monety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268700"/>
            <a:ext cx="76330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kotka i w grupi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Data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Dan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na palecie Scripts utwórz nową zmienną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Make 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Variabl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 Nazwij ją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temp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odyfikuj skrypt kotk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ak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po dotknięciu monety do zmiennej tempo zapisać czas od rozpoczęcia gry – użyj bloku                ora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icznika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imer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      )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ensor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staw wartość zmiennej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ra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zeruj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icznik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 pomocą         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 na początku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gry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graj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576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49430" y="1484730"/>
            <a:ext cx="1337507" cy="139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838335" y="3645030"/>
            <a:ext cx="1266825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936720" y="4005080"/>
            <a:ext cx="542925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368780" y="5157240"/>
            <a:ext cx="8858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7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401340" y="3284980"/>
            <a:ext cx="2376330" cy="3072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13</Words>
  <Application>Microsoft Office PowerPoint</Application>
  <PresentationFormat>A4 Paper (210x297 mm)</PresentationFormat>
  <Paragraphs>46</Paragraphs>
  <Slides>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lank</vt:lpstr>
      <vt:lpstr>Closing slides</vt:lpstr>
      <vt:lpstr>Section break</vt:lpstr>
      <vt:lpstr>think-cell Slide</vt:lpstr>
      <vt:lpstr>       Zadanie 3</vt:lpstr>
      <vt:lpstr>Wskazówki</vt:lpstr>
      <vt:lpstr>Krok 1. Dodaj monetę do zbierania</vt:lpstr>
      <vt:lpstr>Krok 1. Dodaj monetę do zbierania</vt:lpstr>
      <vt:lpstr>Krok 2. Kotek wydaje okrzyk po dotknięciu monety</vt:lpstr>
      <vt:lpstr>Krok 3. Wyświetl czas dojścia do monety.</vt:lpstr>
      <vt:lpstr>Slide 7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153</cp:revision>
  <dcterms:created xsi:type="dcterms:W3CDTF">2014-10-21T19:55:20Z</dcterms:created>
  <dcterms:modified xsi:type="dcterms:W3CDTF">2015-01-27T18:36:22Z</dcterms:modified>
</cp:coreProperties>
</file>